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6"/>
  </p:notesMasterIdLst>
  <p:sldIdLst>
    <p:sldId id="280" r:id="rId5"/>
  </p:sldIdLst>
  <p:sldSz cx="12801600" cy="9601200" type="A3"/>
  <p:notesSz cx="6858000" cy="9296400"/>
  <p:custDataLst>
    <p:tags r:id="rId7"/>
  </p:custDataLst>
  <p:defaultTextStyle>
    <a:defPPr>
      <a:defRPr lang="en-US"/>
    </a:defPPr>
    <a:lvl1pPr marL="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0368">
          <p15:clr>
            <a:srgbClr val="A4A3A4"/>
          </p15:clr>
        </p15:guide>
        <p15:guide id="4" pos="13824">
          <p15:clr>
            <a:srgbClr val="A4A3A4"/>
          </p15:clr>
        </p15:guide>
        <p15:guide id="5" orient="horz" pos="630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pos="840">
          <p15:clr>
            <a:srgbClr val="A4A3A4"/>
          </p15:clr>
        </p15:guide>
        <p15:guide id="8" pos="40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Leah List" initials="LL" lastIdx="5" clrIdx="1">
    <p:extLst/>
  </p:cmAuthor>
  <p:cmAuthor id="2" name="Ivdity Chikovani" initials="IC" lastIdx="10" clrIdx="2">
    <p:extLst/>
  </p:cmAuthor>
  <p:cmAuthor id="3" name="Miloud KADDAR" initials="MK" lastIdx="8" clrIdx="3">
    <p:extLst/>
  </p:cmAuthor>
  <p:cmAuthor id="4" name="Leah Ewald" initials="LE" lastIdx="8" clrIdx="4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E3FC"/>
    <a:srgbClr val="E5FCBE"/>
    <a:srgbClr val="00A6B6"/>
    <a:srgbClr val="A80A4B"/>
    <a:srgbClr val="CAEF00"/>
    <a:srgbClr val="00E8FF"/>
    <a:srgbClr val="07E1F5"/>
    <a:srgbClr val="CB1C68"/>
    <a:srgbClr val="E5E5E5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0" autoAdjust="0"/>
    <p:restoredTop sz="94769" autoAdjust="0"/>
  </p:normalViewPr>
  <p:slideViewPr>
    <p:cSldViewPr snapToGrid="0">
      <p:cViewPr>
        <p:scale>
          <a:sx n="142" d="100"/>
          <a:sy n="142" d="100"/>
        </p:scale>
        <p:origin x="232" y="-2368"/>
      </p:cViewPr>
      <p:guideLst>
        <p:guide orient="horz" pos="2160"/>
        <p:guide pos="2880"/>
        <p:guide orient="horz" pos="10368"/>
        <p:guide pos="13824"/>
        <p:guide orient="horz" pos="630"/>
        <p:guide orient="horz" pos="3024"/>
        <p:guide pos="840"/>
        <p:guide pos="40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4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90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0080" y="3093720"/>
            <a:ext cx="11521440" cy="427425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0" y="2133600"/>
            <a:ext cx="11521440" cy="853440"/>
          </a:xfrm>
        </p:spPr>
        <p:txBody>
          <a:bodyPr/>
          <a:lstStyle>
            <a:lvl1pPr>
              <a:buNone/>
              <a:defRPr sz="31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0080" y="4018896"/>
            <a:ext cx="11521440" cy="3293310"/>
          </a:xfrm>
        </p:spPr>
        <p:txBody>
          <a:bodyPr/>
          <a:lstStyle>
            <a:lvl1pPr marL="639934" indent="-639934">
              <a:buClr>
                <a:schemeClr val="accent1"/>
              </a:buClr>
              <a:buFont typeface="Wingdings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1119884" indent="-479950">
              <a:buClr>
                <a:schemeClr val="accent1"/>
              </a:buClr>
              <a:buFont typeface="Wingdings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759818" indent="-479950">
              <a:buClr>
                <a:schemeClr val="accent1"/>
              </a:buClr>
              <a:buFont typeface="Wingdings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2399751" indent="-47995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0080" y="2155588"/>
            <a:ext cx="11521440" cy="1644094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639934" indent="-639934">
              <a:buClr>
                <a:srgbClr val="00A6B6"/>
              </a:buClr>
              <a:buFontTx/>
              <a:buNone/>
              <a:defRPr sz="28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1119884" indent="-479950">
              <a:buClr>
                <a:srgbClr val="00A6B6"/>
              </a:buClr>
              <a:buFontTx/>
              <a:buNone/>
              <a:defRPr sz="25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759818" indent="-479950">
              <a:buClr>
                <a:srgbClr val="00A6B6"/>
              </a:buClr>
              <a:buFontTx/>
              <a:buNone/>
              <a:defRPr sz="2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2399751" indent="-479950">
              <a:buClr>
                <a:srgbClr val="00A6B6"/>
              </a:buClr>
              <a:buFontTx/>
              <a:buNone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7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280160" y="4576656"/>
            <a:ext cx="11521440" cy="16002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45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9348" y="8896438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www.lnct.global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" name="think-cell Slide" r:id="rId8" imgW="384" imgH="384" progId="TCLayout.ActiveDocument.1">
                  <p:embed/>
                </p:oleObj>
              </mc:Choice>
              <mc:Fallback>
                <p:oleObj name="think-cell Slide" r:id="rId8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1279867" rtl="0" eaLnBrk="1" latinLnBrk="0" hangingPunct="1">
        <a:spcBef>
          <a:spcPct val="0"/>
        </a:spcBef>
        <a:buNone/>
        <a:defRPr sz="62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479950" indent="-479950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45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1039892" indent="-399959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9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599834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62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2239768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879702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3519635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569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503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436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34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67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801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735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668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602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536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47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-52785" y="1775305"/>
            <a:ext cx="12801600" cy="8061109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 dirty="0"/>
          </a:p>
        </p:txBody>
      </p:sp>
      <p:sp>
        <p:nvSpPr>
          <p:cNvPr id="62" name="AutoShape 4"/>
          <p:cNvSpPr>
            <a:spLocks noChangeArrowheads="1"/>
          </p:cNvSpPr>
          <p:nvPr/>
        </p:nvSpPr>
        <p:spPr bwMode="auto">
          <a:xfrm>
            <a:off x="44939" y="6291936"/>
            <a:ext cx="8347241" cy="2719110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64" name="Text Box 42"/>
          <p:cNvSpPr txBox="1">
            <a:spLocks noChangeArrowheads="1"/>
          </p:cNvSpPr>
          <p:nvPr/>
        </p:nvSpPr>
        <p:spPr bwMode="auto">
          <a:xfrm>
            <a:off x="2564062" y="6282455"/>
            <a:ext cx="2867025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V. </a:t>
            </a:r>
            <a:r>
              <a:rPr lang="ru-RU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проблемы</a:t>
            </a:r>
            <a:r>
              <a:rPr lang="en-US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0" y="0"/>
            <a:ext cx="12801600" cy="1578390"/>
          </a:xfrm>
          <a:prstGeom prst="rect">
            <a:avLst/>
          </a:prstGeom>
          <a:solidFill>
            <a:srgbClr val="14364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 dirty="0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380603" y="201414"/>
            <a:ext cx="11934825" cy="117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ts val="175"/>
              </a:spcAft>
            </a:pPr>
            <a:r>
              <a:rPr lang="ru-RU" sz="3500" b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спублика Молдова</a:t>
            </a:r>
            <a:endParaRPr lang="en-US" sz="3500" b="1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Aft>
                <a:spcPts val="175"/>
              </a:spcAft>
            </a:pPr>
            <a:r>
              <a:rPr lang="ru-RU" sz="2100" b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минар по закупкам вакцин</a:t>
            </a:r>
            <a:endParaRPr lang="en-US" sz="2100" b="1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/>
            <a:r>
              <a:rPr lang="ru-RU" sz="1600" b="1" i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билиси, апрель</a:t>
            </a:r>
            <a:r>
              <a:rPr lang="en-US" sz="1600" b="1" i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19</a:t>
            </a:r>
            <a:r>
              <a:rPr lang="ru-RU" sz="1600" b="1" i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.</a:t>
            </a:r>
            <a:endParaRPr lang="en-US" sz="26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0" y="1574292"/>
            <a:ext cx="12801600" cy="13335"/>
          </a:xfrm>
          <a:prstGeom prst="line">
            <a:avLst/>
          </a:prstGeom>
          <a:ln w="190500" cmpd="sng">
            <a:solidFill>
              <a:srgbClr val="E47D2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AutoShape 4"/>
          <p:cNvSpPr>
            <a:spLocks noChangeArrowheads="1"/>
          </p:cNvSpPr>
          <p:nvPr/>
        </p:nvSpPr>
        <p:spPr bwMode="auto">
          <a:xfrm>
            <a:off x="8476356" y="1715263"/>
            <a:ext cx="4150559" cy="4516877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8592662" y="1747210"/>
            <a:ext cx="4049687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II. </a:t>
            </a:r>
            <a:r>
              <a:rPr lang="ru-RU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и вакцин на практике</a:t>
            </a:r>
            <a:endParaRPr lang="en-US" sz="17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0" name="Picture 69" descr="GAVI_Alliance_Colour_Log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180" y="9116834"/>
            <a:ext cx="1362805" cy="522408"/>
          </a:xfrm>
          <a:prstGeom prst="rect">
            <a:avLst/>
          </a:prstGeom>
        </p:spPr>
      </p:pic>
      <p:pic>
        <p:nvPicPr>
          <p:cNvPr id="72" name="Picture 71" descr="Bill-Melinda-Gates-Foundation-Logo.svg_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65" y="9241316"/>
            <a:ext cx="2066733" cy="430914"/>
          </a:xfrm>
          <a:prstGeom prst="rect">
            <a:avLst/>
          </a:prstGeom>
        </p:spPr>
      </p:pic>
      <p:pic>
        <p:nvPicPr>
          <p:cNvPr id="73" name="Picture 72" descr="LNCT_CMYK Primary Logo.eps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65" t="41364" r="33536" b="40806"/>
          <a:stretch/>
        </p:blipFill>
        <p:spPr>
          <a:xfrm>
            <a:off x="6823444" y="9093707"/>
            <a:ext cx="1771221" cy="719892"/>
          </a:xfrm>
          <a:prstGeom prst="rect">
            <a:avLst/>
          </a:prstGeom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8EBE286-59AA-A54D-ABD4-801A3A97834F}"/>
              </a:ext>
            </a:extLst>
          </p:cNvPr>
          <p:cNvGrpSpPr/>
          <p:nvPr/>
        </p:nvGrpSpPr>
        <p:grpSpPr>
          <a:xfrm>
            <a:off x="3859582" y="1775305"/>
            <a:ext cx="4492902" cy="4467374"/>
            <a:chOff x="3842875" y="1771625"/>
            <a:chExt cx="4492902" cy="4392248"/>
          </a:xfrm>
        </p:grpSpPr>
        <p:sp>
          <p:nvSpPr>
            <p:cNvPr id="13" name="AutoShape 4"/>
            <p:cNvSpPr>
              <a:spLocks noChangeArrowheads="1"/>
            </p:cNvSpPr>
            <p:nvPr/>
          </p:nvSpPr>
          <p:spPr bwMode="auto">
            <a:xfrm>
              <a:off x="3842875" y="1771625"/>
              <a:ext cx="4492902" cy="4392248"/>
            </a:xfrm>
            <a:prstGeom prst="roundRect">
              <a:avLst>
                <a:gd name="adj" fmla="val 38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26664" tIns="13332" rIns="26664" bIns="13332" anchor="ctr"/>
            <a:lstStyle/>
            <a:p>
              <a:pPr algn="ctr"/>
              <a:endParaRPr lang="en-US" sz="1200" dirty="0">
                <a:latin typeface="Arial"/>
                <a:cs typeface="Arial"/>
              </a:endParaRPr>
            </a:p>
          </p:txBody>
        </p:sp>
        <p:sp>
          <p:nvSpPr>
            <p:cNvPr id="29" name="Text Box 42"/>
            <p:cNvSpPr txBox="1">
              <a:spLocks noChangeArrowheads="1"/>
            </p:cNvSpPr>
            <p:nvPr/>
          </p:nvSpPr>
          <p:spPr bwMode="auto">
            <a:xfrm>
              <a:off x="3936931" y="1889630"/>
              <a:ext cx="4022394" cy="669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6664" tIns="13332" rIns="26664" bIns="13332">
              <a:spAutoFit/>
            </a:bodyPr>
            <a:lstStyle>
              <a:lvl1pPr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700" b="1" dirty="0">
                  <a:solidFill>
                    <a:srgbClr val="CB1C68"/>
                  </a:solidFill>
                  <a:latin typeface="Arial"/>
                  <a:cs typeface="Arial"/>
                </a:rPr>
                <a:t>II. </a:t>
              </a:r>
              <a:r>
                <a:rPr lang="ru-RU" sz="1700" b="1" dirty="0" err="1">
                  <a:solidFill>
                    <a:srgbClr val="CB1C6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рганиграмма</a:t>
              </a:r>
              <a:r>
                <a:rPr lang="ru-RU" sz="1700" b="1" dirty="0">
                  <a:solidFill>
                    <a:srgbClr val="CB1C6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</a:p>
            <a:p>
              <a:pPr eaLnBrk="1" hangingPunct="1">
                <a:spcBef>
                  <a:spcPct val="50000"/>
                </a:spcBef>
              </a:pPr>
              <a:r>
                <a:rPr lang="ru-RU" sz="1700" b="1" dirty="0">
                  <a:solidFill>
                    <a:srgbClr val="CB1C6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купок вакцин</a:t>
              </a:r>
              <a:endParaRPr lang="en-US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6FB3CD6-CED4-1645-A058-154F8E389AA3}"/>
                </a:ext>
              </a:extLst>
            </p:cNvPr>
            <p:cNvSpPr/>
            <p:nvPr/>
          </p:nvSpPr>
          <p:spPr>
            <a:xfrm>
              <a:off x="3890573" y="2769001"/>
              <a:ext cx="1263484" cy="504408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инистерство здравоохранения, труда и соцзащиты</a:t>
              </a:r>
              <a:endParaRPr lang="en-US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DEF575CD-CC38-954A-BE73-9658E6649F03}"/>
                </a:ext>
              </a:extLst>
            </p:cNvPr>
            <p:cNvSpPr/>
            <p:nvPr/>
          </p:nvSpPr>
          <p:spPr>
            <a:xfrm>
              <a:off x="7032587" y="2825923"/>
              <a:ext cx="1254975" cy="321085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ЮНИСЕФ </a:t>
              </a:r>
              <a:r>
                <a:rPr lang="ru-RU" sz="9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Отдел снабжения</a:t>
              </a:r>
              <a:endParaRPr lang="en-US" sz="8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44DA0F6-A369-8244-B1B3-755348A8B1C8}"/>
                </a:ext>
              </a:extLst>
            </p:cNvPr>
            <p:cNvSpPr/>
            <p:nvPr/>
          </p:nvSpPr>
          <p:spPr>
            <a:xfrm>
              <a:off x="6045127" y="2834494"/>
              <a:ext cx="656249" cy="376506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инфин</a:t>
              </a:r>
              <a:endParaRPr lang="en-US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ECED111-3BBA-264A-9D2C-64C9B8EBDE43}"/>
                </a:ext>
              </a:extLst>
            </p:cNvPr>
            <p:cNvSpPr/>
            <p:nvPr/>
          </p:nvSpPr>
          <p:spPr>
            <a:xfrm>
              <a:off x="6901734" y="5517108"/>
              <a:ext cx="1161487" cy="339638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онтракторы</a:t>
              </a:r>
              <a:endParaRPr lang="en-US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9" name="Elbow Connector 18">
              <a:extLst>
                <a:ext uri="{FF2B5EF4-FFF2-40B4-BE49-F238E27FC236}">
                  <a16:creationId xmlns:a16="http://schemas.microsoft.com/office/drawing/2014/main" id="{800561FC-FF3F-BC4F-B878-FE08ADD3D6E1}"/>
                </a:ext>
              </a:extLst>
            </p:cNvPr>
            <p:cNvCxnSpPr>
              <a:cxnSpLocks/>
              <a:endCxn id="79" idx="1"/>
            </p:cNvCxnSpPr>
            <p:nvPr/>
          </p:nvCxnSpPr>
          <p:spPr>
            <a:xfrm flipV="1">
              <a:off x="5325087" y="3570461"/>
              <a:ext cx="1911846" cy="916824"/>
            </a:xfrm>
            <a:prstGeom prst="bentConnector3">
              <a:avLst>
                <a:gd name="adj1" fmla="val 50000"/>
              </a:avLst>
            </a:prstGeom>
            <a:ln w="38100"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BDA2F88E-72BE-A549-AC1D-81283A0B766A}"/>
                </a:ext>
              </a:extLst>
            </p:cNvPr>
            <p:cNvSpPr/>
            <p:nvPr/>
          </p:nvSpPr>
          <p:spPr>
            <a:xfrm>
              <a:off x="7236933" y="3367805"/>
              <a:ext cx="1003103" cy="405312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ЮНИСЕФ </a:t>
              </a:r>
              <a:r>
                <a:rPr lang="ru-RU" sz="1200" b="1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С</a:t>
              </a:r>
              <a:r>
                <a:rPr lang="ru-RU" sz="800" b="1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трановой</a:t>
              </a:r>
              <a:r>
                <a:rPr lang="ru-RU" sz="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офис</a:t>
              </a:r>
              <a:endParaRPr lang="en-US" sz="8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BA7B042-C2A6-E34F-AB25-9511628AE6E4}"/>
                </a:ext>
              </a:extLst>
            </p:cNvPr>
            <p:cNvSpPr txBox="1"/>
            <p:nvPr/>
          </p:nvSpPr>
          <p:spPr>
            <a:xfrm>
              <a:off x="5868242" y="3323928"/>
              <a:ext cx="1368692" cy="165424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ru-RU" sz="900" dirty="0"/>
                <a:t>Закупка ЮНИСЕФ</a:t>
              </a:r>
              <a:endParaRPr lang="en-US" sz="900" dirty="0"/>
            </a:p>
          </p:txBody>
        </p:sp>
        <p:cxnSp>
          <p:nvCxnSpPr>
            <p:cNvPr id="82" name="Elbow Connector 81">
              <a:extLst>
                <a:ext uri="{FF2B5EF4-FFF2-40B4-BE49-F238E27FC236}">
                  <a16:creationId xmlns:a16="http://schemas.microsoft.com/office/drawing/2014/main" id="{E711F621-55EB-2648-AC57-53674B5D8BF8}"/>
                </a:ext>
              </a:extLst>
            </p:cNvPr>
            <p:cNvCxnSpPr>
              <a:cxnSpLocks/>
              <a:endCxn id="5" idx="1"/>
            </p:cNvCxnSpPr>
            <p:nvPr/>
          </p:nvCxnSpPr>
          <p:spPr>
            <a:xfrm>
              <a:off x="4663385" y="5047101"/>
              <a:ext cx="2238349" cy="639826"/>
            </a:xfrm>
            <a:prstGeom prst="bentConnector3">
              <a:avLst>
                <a:gd name="adj1" fmla="val 548"/>
              </a:avLst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89FCDAC-57E1-3E43-8E45-42C195A4DCDF}"/>
                </a:ext>
              </a:extLst>
            </p:cNvPr>
            <p:cNvSpPr/>
            <p:nvPr/>
          </p:nvSpPr>
          <p:spPr>
            <a:xfrm>
              <a:off x="4977062" y="5475397"/>
              <a:ext cx="1522222" cy="543061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Центр по централизованным госзакупкам в здравоохранении</a:t>
              </a:r>
              <a:endParaRPr lang="en-US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BAD16F3E-F2F3-F84D-9B89-032CBDB5B8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4057" y="3015056"/>
              <a:ext cx="842855" cy="6227"/>
            </a:xfrm>
            <a:prstGeom prst="straightConnector1">
              <a:avLst/>
            </a:prstGeom>
            <a:ln w="381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10A8BA5-D78B-DC40-A0A3-E7637CB8B139}"/>
                </a:ext>
              </a:extLst>
            </p:cNvPr>
            <p:cNvSpPr txBox="1"/>
            <p:nvPr/>
          </p:nvSpPr>
          <p:spPr>
            <a:xfrm>
              <a:off x="5070912" y="3127292"/>
              <a:ext cx="1022455" cy="2118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dirty="0"/>
                <a:t>финансирование</a:t>
              </a:r>
              <a:endParaRPr lang="en-US" sz="8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3EBBD3B-6519-194F-9914-E928C27FA416}"/>
                </a:ext>
              </a:extLst>
            </p:cNvPr>
            <p:cNvSpPr txBox="1"/>
            <p:nvPr/>
          </p:nvSpPr>
          <p:spPr>
            <a:xfrm>
              <a:off x="5122296" y="2771201"/>
              <a:ext cx="927035" cy="2118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dirty="0"/>
                <a:t>планирование</a:t>
              </a:r>
              <a:endParaRPr lang="en-US" sz="800" dirty="0"/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B3D56649-4E3B-3541-A097-DAC5047AC18A}"/>
                </a:ext>
              </a:extLst>
            </p:cNvPr>
            <p:cNvSpPr/>
            <p:nvPr/>
          </p:nvSpPr>
          <p:spPr>
            <a:xfrm>
              <a:off x="3980866" y="4365317"/>
              <a:ext cx="1482402" cy="536107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ациональное</a:t>
              </a:r>
              <a:r>
                <a:rPr lang="ru-RU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9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агентство общественного здоровья</a:t>
              </a:r>
              <a:endParaRPr lang="en-US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15" name="Elbow Connector 114">
              <a:extLst>
                <a:ext uri="{FF2B5EF4-FFF2-40B4-BE49-F238E27FC236}">
                  <a16:creationId xmlns:a16="http://schemas.microsoft.com/office/drawing/2014/main" id="{E98D42F7-4867-1A40-AF9E-7ADBF22924FF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rot="16200000" flipV="1">
              <a:off x="6127210" y="4161840"/>
              <a:ext cx="616274" cy="2094262"/>
            </a:xfrm>
            <a:prstGeom prst="bentConnector2">
              <a:avLst/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4742B62-9603-B743-8F6D-B310B7795F79}"/>
                </a:ext>
              </a:extLst>
            </p:cNvPr>
            <p:cNvSpPr/>
            <p:nvPr/>
          </p:nvSpPr>
          <p:spPr>
            <a:xfrm>
              <a:off x="6544929" y="4965689"/>
              <a:ext cx="1147418" cy="438781"/>
            </a:xfrm>
            <a:prstGeom prst="rect">
              <a:avLst/>
            </a:prstGeom>
            <a:solidFill>
              <a:srgbClr val="CAE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05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аможня</a:t>
              </a:r>
              <a:endParaRPr lang="en-US" sz="105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30ABA6-5155-A240-BB98-9FB67BFCB782}"/>
                </a:ext>
              </a:extLst>
            </p:cNvPr>
            <p:cNvSpPr txBox="1"/>
            <p:nvPr/>
          </p:nvSpPr>
          <p:spPr>
            <a:xfrm>
              <a:off x="4777981" y="5197241"/>
              <a:ext cx="1450884" cy="180813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ru-RU" sz="1000" dirty="0"/>
                <a:t>Местные закупки</a:t>
              </a:r>
              <a:endParaRPr lang="en-US" sz="1000" dirty="0"/>
            </a:p>
          </p:txBody>
        </p:sp>
      </p:grpSp>
      <p:sp>
        <p:nvSpPr>
          <p:cNvPr id="85" name="AutoShape 4">
            <a:extLst>
              <a:ext uri="{FF2B5EF4-FFF2-40B4-BE49-F238E27FC236}">
                <a16:creationId xmlns:a16="http://schemas.microsoft.com/office/drawing/2014/main" id="{5D9926A3-45B7-B042-B353-5D6562C95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65" y="1784542"/>
            <a:ext cx="3629163" cy="4379331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91" name="Text Box 42">
            <a:extLst>
              <a:ext uri="{FF2B5EF4-FFF2-40B4-BE49-F238E27FC236}">
                <a16:creationId xmlns:a16="http://schemas.microsoft.com/office/drawing/2014/main" id="{501BECC7-DE21-0941-9745-E9CC609F95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603" y="1840653"/>
            <a:ext cx="2867025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. </a:t>
            </a:r>
            <a:r>
              <a:rPr lang="ru-RU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и как</a:t>
            </a:r>
            <a:endParaRPr lang="en-US" sz="17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BC8F969-3DE8-934B-8446-D457190AB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880549"/>
              </p:ext>
            </p:extLst>
          </p:nvPr>
        </p:nvGraphicFramePr>
        <p:xfrm>
          <a:off x="154567" y="2221560"/>
          <a:ext cx="3481492" cy="381500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595931">
                  <a:extLst>
                    <a:ext uri="{9D8B030D-6E8A-4147-A177-3AD203B41FA5}">
                      <a16:colId xmlns:a16="http://schemas.microsoft.com/office/drawing/2014/main" val="2025878907"/>
                    </a:ext>
                  </a:extLst>
                </a:gridCol>
                <a:gridCol w="629728">
                  <a:extLst>
                    <a:ext uri="{9D8B030D-6E8A-4147-A177-3AD203B41FA5}">
                      <a16:colId xmlns:a16="http://schemas.microsoft.com/office/drawing/2014/main" val="4102862948"/>
                    </a:ext>
                  </a:extLst>
                </a:gridCol>
                <a:gridCol w="1271043">
                  <a:extLst>
                    <a:ext uri="{9D8B030D-6E8A-4147-A177-3AD203B41FA5}">
                      <a16:colId xmlns:a16="http://schemas.microsoft.com/office/drawing/2014/main" val="2595862916"/>
                    </a:ext>
                  </a:extLst>
                </a:gridCol>
                <a:gridCol w="984790">
                  <a:extLst>
                    <a:ext uri="{9D8B030D-6E8A-4147-A177-3AD203B41FA5}">
                      <a16:colId xmlns:a16="http://schemas.microsoft.com/office/drawing/2014/main" val="1338605763"/>
                    </a:ext>
                  </a:extLst>
                </a:gridCol>
              </a:tblGrid>
              <a:tr h="494540">
                <a:tc>
                  <a:txBody>
                    <a:bodyPr/>
                    <a:lstStyle/>
                    <a:p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</a:t>
                      </a:r>
                      <a:r>
                        <a:rPr lang="ru-RU" sz="9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форма</a:t>
                      </a:r>
                      <a:endParaRPr lang="en-US" sz="7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итель</a:t>
                      </a:r>
                      <a:r>
                        <a:rPr lang="en-US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на за флакон (доллары США</a:t>
                      </a:r>
                      <a:r>
                        <a:rPr lang="en-US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ханизм закупки</a:t>
                      </a:r>
                      <a:endParaRPr lang="en-US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910428"/>
                  </a:ext>
                </a:extLst>
              </a:tr>
              <a:tr h="233493">
                <a:tc>
                  <a:txBody>
                    <a:bodyPr/>
                    <a:lstStyle/>
                    <a:p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еп</a:t>
                      </a:r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rum Institute / 0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1522385"/>
                  </a:ext>
                </a:extLst>
              </a:tr>
              <a:tr h="366917">
                <a:tc>
                  <a:txBody>
                    <a:bodyPr/>
                    <a:lstStyle/>
                    <a:p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нтавалентная</a:t>
                      </a:r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rum Institute / 1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7587008"/>
                  </a:ext>
                </a:extLst>
              </a:tr>
              <a:tr h="233493">
                <a:tc>
                  <a:txBody>
                    <a:bodyPr/>
                    <a:lstStyle/>
                    <a:p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ПК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rum Institute / 2.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1553103"/>
                  </a:ext>
                </a:extLst>
              </a:tr>
              <a:tr h="239956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ПК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rum Institute / 7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7457986"/>
                  </a:ext>
                </a:extLst>
              </a:tr>
              <a:tr h="233493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БЦЖ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NCIPD Ltd, / 2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3454515"/>
                  </a:ext>
                </a:extLst>
              </a:tr>
              <a:tr h="233493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бОПВ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GSK / 1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2241898"/>
                  </a:ext>
                </a:extLst>
              </a:tr>
              <a:tr h="233493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ПВ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ilthoven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/ 3.50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4194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КДС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rum Institute / 2.00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5174315"/>
                  </a:ext>
                </a:extLst>
              </a:tr>
              <a:tr h="233493"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Д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NCIPD Ltd, / 1.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5612726"/>
                  </a:ext>
                </a:extLst>
              </a:tr>
              <a:tr h="233493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ДС-М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NCIPD Ltd, / 1.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5665"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КВ</a:t>
                      </a: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Pfizer / 3.3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4890"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ота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GSK / 2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6009"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ПЧ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erck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/ 4.50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ИСЕФ</a:t>
                      </a:r>
                      <a:endParaRPr lang="en-US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82CD7128-E409-1A43-B8F5-F2940EE5CA3B}"/>
              </a:ext>
            </a:extLst>
          </p:cNvPr>
          <p:cNvSpPr txBox="1">
            <a:spLocks/>
          </p:cNvSpPr>
          <p:nvPr/>
        </p:nvSpPr>
        <p:spPr>
          <a:xfrm>
            <a:off x="8477785" y="1984920"/>
            <a:ext cx="4196039" cy="456218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>
              <a:buClr>
                <a:srgbClr val="00B0F0"/>
              </a:buClr>
              <a:buNone/>
            </a:pPr>
            <a:r>
              <a:rPr lang="ru-RU" sz="9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о-правовая база</a:t>
            </a:r>
            <a:endParaRPr lang="en-US" sz="9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«О Национальной программе иммунизации на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6-2020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г.» от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6.10.2016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№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1113 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он о государственных закупках от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03.07.2015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№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1 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«О Меморандуме о взаимопонимании» от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8.04.2010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№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46  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«О Центре по централизованным госзакупкам» от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.10.2016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№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28 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«Об утверждении Положения о закупке лекарственных средств и других изделий медицинского назначения для нужд системы здравоохранения» от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.09.2009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68 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«Об утверждении Положения о проведении госзакупок из единого источника» от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0.12.2008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07 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«Об утверждении Положения о госзакупках с использованием переговорной процедуры» от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8.10.2013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794 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«Об утверждении Положения о проведении госзакупок путем конкурентного диалога» от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.10.2013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804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«Об утверждении Положения о деятельности рабочей группы по закупкам» от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.12.2007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380 </a:t>
            </a:r>
            <a:endParaRPr lang="ru-RU" sz="7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9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кущие внедрения вакцин</a:t>
            </a:r>
            <a:endParaRPr lang="en-US" sz="900" b="1" strike="sngStrike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Ч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2017       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ПВ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2018        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та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2017      </a:t>
            </a:r>
            <a:r>
              <a:rPr lang="ru-RU" sz="7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КВ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  – 2017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9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по вакцинам и источники финансирования</a:t>
            </a:r>
            <a:endParaRPr lang="en-US" sz="9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кцины в рамках РПИ на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8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= 1.092.651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л. США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бюджет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+ 282.340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л. США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ВИ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кцины вне РПИ на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8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.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= 479.137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л. США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бюджет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 антигены покрываются госбюджетом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 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оме ИПВ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Ч –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7-2018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г.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ПВ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ВИ</a:t>
            </a:r>
            <a:endParaRPr lang="en-US" sz="7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Ч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ВИ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017-2018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г.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Ч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бюджет на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.</a:t>
            </a:r>
            <a:br>
              <a:rPr lang="en-US" sz="9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и информации о рынке вакцин и ценах</a:t>
            </a:r>
            <a:br>
              <a:rPr lang="en-US" sz="9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талог Отдела снабжения ЮНИСЕФ </a:t>
            </a:r>
            <a:b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4A: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ыночная информация о доступе к вакцинам</a:t>
            </a:r>
            <a:endParaRPr lang="en-US" sz="7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за данных Программы вакцинации, цен и закупок (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3P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9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ицит и избыточные запасы</a:t>
            </a:r>
            <a:endParaRPr lang="en-US" sz="9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торные тендеры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ДС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С-М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ПВ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2015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ЦЖ -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4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участников торгов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С-М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ПВ, АКДС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КК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2015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т/высокие цены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С-М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ПВ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2015) 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кцина против бешенства из России 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6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ложенные закупки/поставки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С-М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14) (</a:t>
            </a:r>
            <a:r>
              <a:rPr lang="ru-RU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ЦЖ</a:t>
            </a:r>
            <a:r>
              <a:rPr lang="en-US" sz="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2015)</a:t>
            </a:r>
            <a:endParaRPr lang="en-US" sz="700" b="1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endParaRPr lang="en-US" sz="1100" b="1" dirty="0">
              <a:solidFill>
                <a:srgbClr val="0099FF"/>
              </a:solidFill>
            </a:endParaRP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+mn-lt"/>
            </a:endParaRP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+mn-lt"/>
            </a:endParaRPr>
          </a:p>
          <a:p>
            <a:pPr lvl="1"/>
            <a:endParaRPr lang="en-US" sz="400" dirty="0">
              <a:latin typeface="+mn-lt"/>
            </a:endParaRPr>
          </a:p>
        </p:txBody>
      </p:sp>
      <p:sp>
        <p:nvSpPr>
          <p:cNvPr id="140" name="AutoShape 4">
            <a:extLst>
              <a:ext uri="{FF2B5EF4-FFF2-40B4-BE49-F238E27FC236}">
                <a16:creationId xmlns:a16="http://schemas.microsoft.com/office/drawing/2014/main" id="{C14302F3-D4A2-944A-8ED5-4FF089EC7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4624" y="6283413"/>
            <a:ext cx="4049687" cy="2748010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141" name="Text Box 42">
            <a:extLst>
              <a:ext uri="{FF2B5EF4-FFF2-40B4-BE49-F238E27FC236}">
                <a16:creationId xmlns:a16="http://schemas.microsoft.com/office/drawing/2014/main" id="{190075EB-6665-AD47-BCCC-4A83C3902F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83993" y="6294864"/>
            <a:ext cx="3323371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V. </a:t>
            </a:r>
            <a:r>
              <a:rPr lang="ru-RU" sz="14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льнейшее развитие</a:t>
            </a:r>
            <a:endParaRPr lang="en-US" sz="14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4" name="Content Placeholder 2">
            <a:extLst>
              <a:ext uri="{FF2B5EF4-FFF2-40B4-BE49-F238E27FC236}">
                <a16:creationId xmlns:a16="http://schemas.microsoft.com/office/drawing/2014/main" id="{C4B24CA3-ED8E-5045-8908-E1322293923F}"/>
              </a:ext>
            </a:extLst>
          </p:cNvPr>
          <p:cNvSpPr txBox="1">
            <a:spLocks/>
          </p:cNvSpPr>
          <p:nvPr/>
        </p:nvSpPr>
        <p:spPr>
          <a:xfrm>
            <a:off x="8683316" y="6729089"/>
            <a:ext cx="3943598" cy="225106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B0F0"/>
              </a:buClr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ие основные проблемы могут возникнуть в течение следующих 3 лет</a:t>
            </a:r>
            <a:r>
              <a:rPr lang="en-US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pPr indent="-285750">
              <a:buClr>
                <a:srgbClr val="00B0F0"/>
              </a:buClr>
            </a:pPr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амостоятельная закупка вакцин</a:t>
            </a:r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-285750">
              <a:buClr>
                <a:srgbClr val="00B0F0"/>
              </a:buClr>
            </a:pPr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т цен на вакцин</a:t>
            </a:r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-285750">
              <a:buClr>
                <a:srgbClr val="00B0F0"/>
              </a:buClr>
            </a:pPr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ая нестабильность</a:t>
            </a:r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-2857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Clr>
                <a:srgbClr val="00B0F0"/>
              </a:buClr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ие навыки, инструменты и поддержка могут Вам потребоваться для повышения эффективности закупок вакцин и внедрения новых вакцин в ближайшем будущем</a:t>
            </a:r>
            <a:r>
              <a:rPr lang="en-US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228600" indent="-171450">
              <a:buClr>
                <a:srgbClr val="00B0F0"/>
              </a:buClr>
            </a:pPr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вые тренинги для заинтересованных сторон в сфере закупок с целью развития потенциала персонала</a:t>
            </a:r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171450">
              <a:buClr>
                <a:srgbClr val="00B0F0"/>
              </a:buClr>
            </a:pPr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уровня знаний о мировых рынках вакцин</a:t>
            </a:r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171450">
              <a:buClr>
                <a:srgbClr val="00B0F0"/>
              </a:buClr>
            </a:pPr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Пы по закупке вакцин</a:t>
            </a:r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171450">
              <a:buClr>
                <a:srgbClr val="00B0F0"/>
              </a:buClr>
            </a:pPr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уровня политических обязательств</a:t>
            </a:r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latin typeface="+mn-lt"/>
            </a:endParaRPr>
          </a:p>
          <a:p>
            <a:pPr lvl="1"/>
            <a:endParaRPr lang="en-US" sz="400" dirty="0">
              <a:latin typeface="+mn-lt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23074D2-5F7A-C046-8524-2287654C6B3F}"/>
              </a:ext>
            </a:extLst>
          </p:cNvPr>
          <p:cNvSpPr txBox="1"/>
          <p:nvPr/>
        </p:nvSpPr>
        <p:spPr>
          <a:xfrm>
            <a:off x="1895313" y="24488349"/>
            <a:ext cx="1220254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</a:rPr>
              <a:t>If available, please insert a chart on the quantities of vaccine procured in 2015-2018 by vaccine type, prices (if possible). Indicate stock outs and delays in introduction due to unavailability.</a:t>
            </a:r>
          </a:p>
        </p:txBody>
      </p:sp>
      <p:sp>
        <p:nvSpPr>
          <p:cNvPr id="149" name="Text Box 42">
            <a:extLst>
              <a:ext uri="{FF2B5EF4-FFF2-40B4-BE49-F238E27FC236}">
                <a16:creationId xmlns:a16="http://schemas.microsoft.com/office/drawing/2014/main" id="{1E5EEEFB-B9E4-624D-82C1-9057FDEF35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01807" y="6610765"/>
            <a:ext cx="1937882" cy="225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ясняющие факторы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chemeClr val="bg1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ый период без самостоятельных закупок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chemeClr val="bg1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вая база оставляет мало возможностей для инновационных закупок, соответствующих рынку вакцин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chemeClr val="bg1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структуры периодических встреч между всеми ключевыми заинтересованными сторонами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chemeClr val="bg1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ебание курса валют оказывает значительное влияние на закупку вакцин, планирование и бюджет</a:t>
            </a:r>
            <a:endParaRPr lang="en-US" sz="900" dirty="0">
              <a:solidFill>
                <a:schemeClr val="bg1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0" name="Text Box 42">
            <a:extLst>
              <a:ext uri="{FF2B5EF4-FFF2-40B4-BE49-F238E27FC236}">
                <a16:creationId xmlns:a16="http://schemas.microsoft.com/office/drawing/2014/main" id="{2E6E492F-8286-5B4E-8F99-3EC4FD6B95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7573" y="6547102"/>
            <a:ext cx="2457097" cy="231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ягчающие механизмы</a:t>
            </a:r>
            <a:endParaRPr lang="en-US" sz="14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смотр законодательства, что позволит с 2021 года использовать текущие условия и политику госзакупок, используемые правительствами ЕС для проведения торгов и заключения контрактов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соответствующего обучения для всех сотрудников в ходе процесса, в частности, проведение тренинга по закупкам вакцин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гулярная коммуникация и координация заинтересованных сторон, занимающихся закупками вакцин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осведомленности национальных заинтересованных сторон по вопросам финансовой стабильности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1" name="Text Box 42">
            <a:extLst>
              <a:ext uri="{FF2B5EF4-FFF2-40B4-BE49-F238E27FC236}">
                <a16:creationId xmlns:a16="http://schemas.microsoft.com/office/drawing/2014/main" id="{121F205F-4646-554A-AEF6-AA56AA9B0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35523" y="6580556"/>
            <a:ext cx="1771221" cy="2289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5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ые решения</a:t>
            </a:r>
            <a:endParaRPr lang="en-US" sz="15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е правовой базы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гулярных тренингов по закупкам вакцин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ноголетнее прогнозирование, согласованное с заключением многолетних контрактов и доступностью вакцин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и имплементация планов по улучшению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крепление сотрудничества между национальными заинтересованными сторонами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900" dirty="0">
              <a:latin typeface="Arial"/>
              <a:cs typeface="Arial"/>
            </a:endParaRPr>
          </a:p>
        </p:txBody>
      </p:sp>
      <p:sp>
        <p:nvSpPr>
          <p:cNvPr id="52" name="Text Box 42">
            <a:extLst>
              <a:ext uri="{FF2B5EF4-FFF2-40B4-BE49-F238E27FC236}">
                <a16:creationId xmlns:a16="http://schemas.microsoft.com/office/drawing/2014/main" id="{5D5516FA-8FE7-A347-BB4A-250FA5589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775" y="6547102"/>
            <a:ext cx="1897193" cy="2412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5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</a:t>
            </a:r>
            <a:endParaRPr lang="ka-GE" sz="1500" b="1" dirty="0">
              <a:solidFill>
                <a:srgbClr val="CB1C68"/>
              </a:solidFill>
              <a:latin typeface="Arial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chemeClr val="bg1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дура самостоятельных закупок может столкнуться с проблемой слабых возможностей после перехода от механизма ЮНИСЕФ</a:t>
            </a:r>
            <a:endParaRPr lang="en-US" sz="900" dirty="0">
              <a:solidFill>
                <a:schemeClr val="bg1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chemeClr val="bg1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вая база оставляет мало возможностей для определения инновационного процесса закупок на рынке вакцин</a:t>
            </a:r>
            <a:endParaRPr lang="en-US" sz="900" dirty="0">
              <a:solidFill>
                <a:schemeClr val="bg1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chemeClr val="bg1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ые проблемы из-за внедрения новых вакцин</a:t>
            </a:r>
            <a:endParaRPr lang="en-US" sz="900" dirty="0">
              <a:solidFill>
                <a:schemeClr val="bg1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chemeClr val="bg1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ноголетний прогноз, связанный с заключением многолетних контрактов и доступностью вакцин</a:t>
            </a:r>
            <a:endParaRPr lang="en-US" sz="900" dirty="0">
              <a:solidFill>
                <a:schemeClr val="bg1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098" name="Picture 2" descr="C:\Users\Alexei™\Desktop\md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29" y="257504"/>
            <a:ext cx="1946688" cy="973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Alexei™\Desktop\ansp-e1551512469293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9160" y="74788"/>
            <a:ext cx="1408204" cy="1302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BAD16F3E-F2F3-F84D-9B89-032CBDB5B869}"/>
              </a:ext>
            </a:extLst>
          </p:cNvPr>
          <p:cNvCxnSpPr>
            <a:cxnSpLocks/>
          </p:cNvCxnSpPr>
          <p:nvPr/>
        </p:nvCxnSpPr>
        <p:spPr>
          <a:xfrm flipH="1">
            <a:off x="4706453" y="3311485"/>
            <a:ext cx="11278" cy="1113209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C3EBBD3B-6519-194F-9914-E928C27FA416}"/>
              </a:ext>
            </a:extLst>
          </p:cNvPr>
          <p:cNvSpPr txBox="1"/>
          <p:nvPr/>
        </p:nvSpPr>
        <p:spPr>
          <a:xfrm>
            <a:off x="4203521" y="3306458"/>
            <a:ext cx="323165" cy="86012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ru-RU" sz="900" dirty="0"/>
              <a:t>планирование</a:t>
            </a:r>
            <a:endParaRPr lang="en-US" sz="900" dirty="0"/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3D56649-4E3B-3541-A097-DAC5047AC18A}"/>
              </a:ext>
            </a:extLst>
          </p:cNvPr>
          <p:cNvSpPr/>
          <p:nvPr/>
        </p:nvSpPr>
        <p:spPr>
          <a:xfrm>
            <a:off x="6923773" y="4387575"/>
            <a:ext cx="1269774" cy="470122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гентство по лекарствам и медицинским изделиями</a:t>
            </a:r>
            <a:r>
              <a:rPr lang="en-US" sz="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 </a:t>
            </a:r>
            <a:r>
              <a:rPr lang="ru-RU" sz="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. рег. орган</a:t>
            </a:r>
            <a:endParaRPr lang="en-US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BAD16F3E-F2F3-F84D-9B89-032CBDB5B869}"/>
              </a:ext>
            </a:extLst>
          </p:cNvPr>
          <p:cNvCxnSpPr>
            <a:cxnSpLocks/>
          </p:cNvCxnSpPr>
          <p:nvPr/>
        </p:nvCxnSpPr>
        <p:spPr>
          <a:xfrm>
            <a:off x="5463359" y="4693788"/>
            <a:ext cx="1412677" cy="0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6732637" y="3190612"/>
            <a:ext cx="331211" cy="5376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D10A8BA5-D78B-DC40-A0A3-E7637CB8B139}"/>
              </a:ext>
            </a:extLst>
          </p:cNvPr>
          <p:cNvSpPr txBox="1"/>
          <p:nvPr/>
        </p:nvSpPr>
        <p:spPr>
          <a:xfrm>
            <a:off x="5478364" y="4744242"/>
            <a:ext cx="164074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/>
              <a:t>Разрешение на импорт</a:t>
            </a:r>
            <a:endParaRPr lang="en-US" sz="900" dirty="0"/>
          </a:p>
        </p:txBody>
      </p:sp>
      <p:cxnSp>
        <p:nvCxnSpPr>
          <p:cNvPr id="106" name="Elbow Connector 105">
            <a:extLst>
              <a:ext uri="{FF2B5EF4-FFF2-40B4-BE49-F238E27FC236}">
                <a16:creationId xmlns:a16="http://schemas.microsoft.com/office/drawing/2014/main" id="{E711F621-55EB-2648-AC57-53674B5D8BF8}"/>
              </a:ext>
            </a:extLst>
          </p:cNvPr>
          <p:cNvCxnSpPr>
            <a:cxnSpLocks/>
            <a:stCxn id="5" idx="3"/>
          </p:cNvCxnSpPr>
          <p:nvPr/>
        </p:nvCxnSpPr>
        <p:spPr>
          <a:xfrm flipV="1">
            <a:off x="8079928" y="4660879"/>
            <a:ext cx="97548" cy="1096697"/>
          </a:xfrm>
          <a:prstGeom prst="bentConnector2">
            <a:avLst/>
          </a:prstGeom>
          <a:ln w="28575">
            <a:solidFill>
              <a:srgbClr val="00A6B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C3EBBD3B-6519-194F-9914-E928C27FA416}"/>
              </a:ext>
            </a:extLst>
          </p:cNvPr>
          <p:cNvSpPr txBox="1"/>
          <p:nvPr/>
        </p:nvSpPr>
        <p:spPr>
          <a:xfrm>
            <a:off x="7901637" y="4831903"/>
            <a:ext cx="323165" cy="81980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ru-RU" sz="900" dirty="0"/>
              <a:t>Регистрация</a:t>
            </a:r>
            <a:endParaRPr lang="en-US" sz="900" dirty="0"/>
          </a:p>
        </p:txBody>
      </p:sp>
      <p:cxnSp>
        <p:nvCxnSpPr>
          <p:cNvPr id="4102" name="Straight Connector 4101"/>
          <p:cNvCxnSpPr>
            <a:cxnSpLocks/>
          </p:cNvCxnSpPr>
          <p:nvPr/>
        </p:nvCxnSpPr>
        <p:spPr>
          <a:xfrm>
            <a:off x="7695253" y="3225220"/>
            <a:ext cx="0" cy="162476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3" name="TextBox 4102"/>
          <p:cNvSpPr txBox="1"/>
          <p:nvPr/>
        </p:nvSpPr>
        <p:spPr>
          <a:xfrm>
            <a:off x="10617506" y="2251810"/>
            <a:ext cx="184731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60" name="Picture 59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3BDB745D-30E7-8C4F-92F1-5BD3D4C05FA9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544" y="9089360"/>
            <a:ext cx="2630922" cy="57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579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89999999999999991118E+00&quot;&gt;&lt;m_msothmcolidx val=&quot;0&quot;/&gt;&lt;m_rgb r=&quot;21&quot; g=&quot;09&quot; b=&quot;FD&quot;/&gt;&lt;m_nBrightness val=&quot;0&quot;/&gt;&lt;/elem&gt;&lt;elem m_fUsage=&quot;1.38509999999999999787E+00&quot;&gt;&lt;m_msothmcolidx val=&quot;0&quot;/&gt;&lt;m_rgb r=&quot;D3&quot; g=&quot;EF&quot; b=&quot;AD&quot;/&gt;&lt;m_nBrightness val=&quot;0&quot;/&gt;&lt;/elem&gt;&lt;elem m_fUsage=&quot;8.10000000000000053291E-01&quot;&gt;&lt;m_msothmcolidx val=&quot;0&quot;/&gt;&lt;m_rgb r=&quot;FF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8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6" ma:contentTypeDescription="Create a new document." ma:contentTypeScope="" ma:versionID="722fe1bc9c833233efb3d0155475aaa2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22d1954386069d4764e8b8fa3e72a0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123;#Health|dc69edcd-43cc-4690-a0cd-73f1415cf1ed" ma:fieldId="{4d16009d-c514-44af-92aa-78db77815af5}" ma:taxonomyMulti="true" ma:sspId="99a65aa6-ac8d-46e4-9aa8-b40f8e8101fc" ma:termSetId="a91bfab0-4954-4226-aefc-bfb9268498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8F70BE-E4CC-4D73-8BA0-08FE658F0A94}">
  <ds:schemaRefs>
    <ds:schemaRef ds:uri="http://www.w3.org/XML/1998/namespace"/>
    <ds:schemaRef ds:uri="768c69c3-fa35-427a-bd39-62ed8a1a923f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2af4539b-39f3-4771-ac1a-16de5a20c394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B63008-0531-4716-B543-E3C98F74C818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004</TotalTime>
  <Words>732</Words>
  <Application>Microsoft Macintosh PowerPoint</Application>
  <PresentationFormat>A3 Paper (297x420 mm)</PresentationFormat>
  <Paragraphs>14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Times New Roman</vt:lpstr>
      <vt:lpstr>Wingdings</vt:lpstr>
      <vt:lpstr>R4D_StandardTemplate_MAC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Ivdity Chikovani</cp:lastModifiedBy>
  <cp:revision>338</cp:revision>
  <cp:lastPrinted>2018-06-28T08:33:47Z</cp:lastPrinted>
  <dcterms:created xsi:type="dcterms:W3CDTF">2013-09-25T20:04:22Z</dcterms:created>
  <dcterms:modified xsi:type="dcterms:W3CDTF">2019-04-04T17:3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8;#Communications|d8600aaf-13ee-4a11-996f-f272b3ac4916</vt:lpwstr>
  </property>
  <property fmtid="{D5CDD505-2E9C-101B-9397-08002B2CF9AE}" pid="4" name="AuthorIds_UIVersion_512">
    <vt:lpwstr>1679</vt:lpwstr>
  </property>
</Properties>
</file>